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3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467412771560237"/>
          <c:y val="8.2267689684569476E-2"/>
          <c:w val="0.8839148562650867"/>
          <c:h val="0.835464620630861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6E1-48EA-8EBE-315D2522565D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6E1-48EA-8EBE-315D2522565D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6E1-48EA-8EBE-315D2522565D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6E1-48EA-8EBE-315D2522565D}"/>
                </c:ext>
              </c:extLst>
            </c:dLbl>
            <c:dLbl>
              <c:idx val="2"/>
              <c:layout>
                <c:manualLayout>
                  <c:x val="0"/>
                  <c:y val="-4.2625745950554135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6E1-48EA-8EBE-315D2522565D}"/>
                </c:ext>
              </c:extLst>
            </c:dLbl>
            <c:dLbl>
              <c:idx val="3"/>
              <c:layout>
                <c:manualLayout>
                  <c:x val="0"/>
                  <c:y val="-4.2625745950554135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6E1-48EA-8EBE-315D2522565D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6E1-48EA-8EBE-315D2522565D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6E1-48EA-8EBE-315D2522565D}"/>
                </c:ext>
              </c:extLst>
            </c:dLbl>
            <c:dLbl>
              <c:idx val="6"/>
              <c:layout>
                <c:manualLayout>
                  <c:x val="0"/>
                  <c:y val="-4.2625745950554135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6E1-48EA-8EBE-315D252256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55.293071572877636</c:v>
                </c:pt>
                <c:pt idx="1">
                  <c:v>49.980149615807896</c:v>
                </c:pt>
                <c:pt idx="2">
                  <c:v>47.381118075486754</c:v>
                </c:pt>
                <c:pt idx="3">
                  <c:v>44.110220130438961</c:v>
                </c:pt>
                <c:pt idx="4">
                  <c:v>43.425944588313655</c:v>
                </c:pt>
                <c:pt idx="5">
                  <c:v>41.655048778825865</c:v>
                </c:pt>
                <c:pt idx="6">
                  <c:v>43.704525684314504</c:v>
                </c:pt>
                <c:pt idx="7">
                  <c:v>99.999999999999986</c:v>
                </c:pt>
                <c:pt idx="8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6E1-48EA-8EBE-315D2522565D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6E1-48EA-8EBE-315D2522565D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6E1-48EA-8EBE-315D2522565D}"/>
                </c:ext>
              </c:extLst>
            </c:dLbl>
            <c:dLbl>
              <c:idx val="2"/>
              <c:layout>
                <c:manualLayout>
                  <c:x val="0"/>
                  <c:y val="-4.2625745950554135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26E1-48EA-8EBE-315D2522565D}"/>
                </c:ext>
              </c:extLst>
            </c:dLbl>
            <c:dLbl>
              <c:idx val="3"/>
              <c:layout>
                <c:manualLayout>
                  <c:x val="0"/>
                  <c:y val="-4.2625745950554135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26E1-48EA-8EBE-315D2522565D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26E1-48EA-8EBE-315D2522565D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26E1-48EA-8EBE-315D2522565D}"/>
                </c:ext>
              </c:extLst>
            </c:dLbl>
            <c:dLbl>
              <c:idx val="6"/>
              <c:layout>
                <c:manualLayout>
                  <c:x val="0"/>
                  <c:y val="-4.2625745950554135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26E1-48EA-8EBE-315D252256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44.706928427122364</c:v>
                </c:pt>
                <c:pt idx="1">
                  <c:v>50.019850384192097</c:v>
                </c:pt>
                <c:pt idx="2">
                  <c:v>52.618881924513246</c:v>
                </c:pt>
                <c:pt idx="3">
                  <c:v>55.889779869561032</c:v>
                </c:pt>
                <c:pt idx="4">
                  <c:v>56.574055411686345</c:v>
                </c:pt>
                <c:pt idx="5">
                  <c:v>58.344951221174135</c:v>
                </c:pt>
                <c:pt idx="6">
                  <c:v>56.2954743156854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26E1-48EA-8EBE-315D252256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24596464"/>
        <c:axId val="1"/>
      </c:barChart>
      <c:catAx>
        <c:axId val="3245964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zh-CN"/>
          </a:p>
        </c:txPr>
        <c:crossAx val="324596464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8377DD-954B-49EE-95AB-3F5F7E28F41A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5C69AE-A410-4EC6-AA76-EC08F30626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06187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65501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164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931957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002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5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50212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340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564724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chart" Target="../charts/chart1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oleObject" Target="../embeddings/oleObject5.bin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notesSlide" Target="../notesSlides/notesSlide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slideLayout" Target="../slideLayouts/slideLayout5.xml"/><Relationship Id="rId8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32" imgW="349" imgH="350" progId="TCLayout.ActiveDocument.1">
                  <p:embed/>
                </p:oleObj>
              </mc:Choice>
              <mc:Fallback>
                <p:oleObj name="think-cell 幻灯片" r:id="rId32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aphicFrame>
        <p:nvGraphicFramePr>
          <p:cNvPr id="48" name="Chart 3">
            <a:extLst>
              <a:ext uri="{FF2B5EF4-FFF2-40B4-BE49-F238E27FC236}">
                <a16:creationId xmlns:a16="http://schemas.microsoft.com/office/drawing/2014/main" id="{38765017-961A-4795-95FE-10177DFC4A0C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266700" y="2011363"/>
          <a:ext cx="7234238" cy="3724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5DF196F-FDA4-3187-E40D-5CF31A202B0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7350125" y="2317750"/>
            <a:ext cx="203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59">
            <a:extLst>
              <a:ext uri="{FF2B5EF4-FFF2-40B4-BE49-F238E27FC236}">
                <a16:creationId xmlns:a16="http://schemas.microsoft.com/office/drawing/2014/main" id="{2DA6CF21-855A-CB06-7EB4-9D702167EC34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165225" y="5487988"/>
            <a:ext cx="4254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year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25" name="Rectangle 60">
            <a:extLst>
              <a:ext uri="{FF2B5EF4-FFF2-40B4-BE49-F238E27FC236}">
                <a16:creationId xmlns:a16="http://schemas.microsoft.com/office/drawing/2014/main" id="{E5598D69-DB3E-E9BC-C039-8DCF98281635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884363" y="5487988"/>
            <a:ext cx="4111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30" name="Rectangle 61">
            <a:extLst>
              <a:ext uri="{FF2B5EF4-FFF2-40B4-BE49-F238E27FC236}">
                <a16:creationId xmlns:a16="http://schemas.microsoft.com/office/drawing/2014/main" id="{203A593A-5CB0-E23E-28E8-6615088DF3F7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584450" y="5487988"/>
            <a:ext cx="4286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3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34" name="Rectangle 62">
            <a:extLst>
              <a:ext uri="{FF2B5EF4-FFF2-40B4-BE49-F238E27FC236}">
                <a16:creationId xmlns:a16="http://schemas.microsoft.com/office/drawing/2014/main" id="{BFBDF718-2830-E1EF-453F-FF3D1D106C55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297238" y="5487988"/>
            <a:ext cx="4254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4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37" name="Rectangle 127">
            <a:extLst>
              <a:ext uri="{FF2B5EF4-FFF2-40B4-BE49-F238E27FC236}">
                <a16:creationId xmlns:a16="http://schemas.microsoft.com/office/drawing/2014/main" id="{C55BCFB3-29D2-567C-384C-23B84B06D3AC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986213" y="5487988"/>
            <a:ext cx="4667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5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</p:txBody>
      </p:sp>
      <p:sp>
        <p:nvSpPr>
          <p:cNvPr id="39" name="Rectangle 128">
            <a:extLst>
              <a:ext uri="{FF2B5EF4-FFF2-40B4-BE49-F238E27FC236}">
                <a16:creationId xmlns:a16="http://schemas.microsoft.com/office/drawing/2014/main" id="{151BFC8E-6609-A208-BF42-8939AFAEEA96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718050" y="5487988"/>
            <a:ext cx="4254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6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</p:txBody>
      </p:sp>
      <p:sp>
        <p:nvSpPr>
          <p:cNvPr id="40" name="Rectangle 129">
            <a:extLst>
              <a:ext uri="{FF2B5EF4-FFF2-40B4-BE49-F238E27FC236}">
                <a16:creationId xmlns:a16="http://schemas.microsoft.com/office/drawing/2014/main" id="{99E57F9E-F6D5-645E-C0C7-95AC9E014078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410200" y="5487988"/>
            <a:ext cx="4619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7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42" name="Rectangle 130">
            <a:extLst>
              <a:ext uri="{FF2B5EF4-FFF2-40B4-BE49-F238E27FC236}">
                <a16:creationId xmlns:a16="http://schemas.microsoft.com/office/drawing/2014/main" id="{D7C15A00-FDB1-2286-1E63-352291B97087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043612" y="5487988"/>
            <a:ext cx="61753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8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29" name="Rectangle 131">
            <a:extLst>
              <a:ext uri="{FF2B5EF4-FFF2-40B4-BE49-F238E27FC236}">
                <a16:creationId xmlns:a16="http://schemas.microsoft.com/office/drawing/2014/main" id="{5A293FF5-A914-C6F3-1EB1-9D8641A6E2DC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6750049" y="5487988"/>
            <a:ext cx="622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9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604125" y="2227263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AADC89C-2EF7-4BDA-AFFB-2622D2184579}" type="datetime'''1''''''''''''''''''0''''''''0''''''''''''''''%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0%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49" name="Master text box">
            <a:extLst>
              <a:ext uri="{FF2B5EF4-FFF2-40B4-BE49-F238E27FC236}">
                <a16:creationId xmlns:a16="http://schemas.microsoft.com/office/drawing/2014/main" id="{7F894E02-4083-2041-F306-C0B28355F4F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1168400" y="2079625"/>
            <a:ext cx="420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year_1_number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41" name="Master text box">
            <a:extLst>
              <a:ext uri="{FF2B5EF4-FFF2-40B4-BE49-F238E27FC236}">
                <a16:creationId xmlns:a16="http://schemas.microsoft.com/office/drawing/2014/main" id="{F8FEBB1D-C828-47B8-F02A-FECEAE630B24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1884363" y="2079625"/>
            <a:ext cx="4095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2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43" name="Master text box">
            <a:extLst>
              <a:ext uri="{FF2B5EF4-FFF2-40B4-BE49-F238E27FC236}">
                <a16:creationId xmlns:a16="http://schemas.microsoft.com/office/drawing/2014/main" id="{129317DE-3191-6FCA-D74F-A7C0B2FD7A50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2589213" y="2079625"/>
            <a:ext cx="420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3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50" name="Master text box">
            <a:extLst>
              <a:ext uri="{FF2B5EF4-FFF2-40B4-BE49-F238E27FC236}">
                <a16:creationId xmlns:a16="http://schemas.microsoft.com/office/drawing/2014/main" id="{7B72C48B-2BC1-857E-233D-BA7A22E1A875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3292475" y="2079625"/>
            <a:ext cx="436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4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</p:txBody>
      </p:sp>
      <p:sp>
        <p:nvSpPr>
          <p:cNvPr id="51" name="Master text box">
            <a:extLst>
              <a:ext uri="{FF2B5EF4-FFF2-40B4-BE49-F238E27FC236}">
                <a16:creationId xmlns:a16="http://schemas.microsoft.com/office/drawing/2014/main" id="{DD3A0FA5-2A2F-6AC8-12F4-4EE0C99F2CB7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3983038" y="2079625"/>
            <a:ext cx="4746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5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</p:txBody>
      </p:sp>
      <p:sp>
        <p:nvSpPr>
          <p:cNvPr id="52" name="Master text box">
            <a:extLst>
              <a:ext uri="{FF2B5EF4-FFF2-40B4-BE49-F238E27FC236}">
                <a16:creationId xmlns:a16="http://schemas.microsoft.com/office/drawing/2014/main" id="{7718DA99-CE19-63DA-74DB-2921FB27591E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4695825" y="2079625"/>
            <a:ext cx="4714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6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53" name="Master text box">
            <a:extLst>
              <a:ext uri="{FF2B5EF4-FFF2-40B4-BE49-F238E27FC236}">
                <a16:creationId xmlns:a16="http://schemas.microsoft.com/office/drawing/2014/main" id="{581FE941-870D-831B-D465-28DFB5027497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5383212" y="2079625"/>
            <a:ext cx="5159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7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46" name="Master text box">
            <a:extLst>
              <a:ext uri="{FF2B5EF4-FFF2-40B4-BE49-F238E27FC236}">
                <a16:creationId xmlns:a16="http://schemas.microsoft.com/office/drawing/2014/main" id="{0F7088C5-8BDD-B16B-AE14-AD6E9C8DA923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6078537" y="2079625"/>
            <a:ext cx="547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</a:t>
            </a: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8</a:t>
            </a: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47" name="Master text box">
            <a:extLst>
              <a:ext uri="{FF2B5EF4-FFF2-40B4-BE49-F238E27FC236}">
                <a16:creationId xmlns:a16="http://schemas.microsoft.com/office/drawing/2014/main" id="{C2E29A48-79C0-B872-05C0-6EE31EDEA942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6794499" y="2079625"/>
            <a:ext cx="533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9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58" name="Rectangle 138">
            <a:extLst>
              <a:ext uri="{FF2B5EF4-FFF2-40B4-BE49-F238E27FC236}">
                <a16:creationId xmlns:a16="http://schemas.microsoft.com/office/drawing/2014/main" id="{69EACD07-1455-DBEF-03F3-79D1127C1665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20925" y="577850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9" name="Rectangle 139">
            <a:extLst>
              <a:ext uri="{FF2B5EF4-FFF2-40B4-BE49-F238E27FC236}">
                <a16:creationId xmlns:a16="http://schemas.microsoft.com/office/drawing/2014/main" id="{998FE3E0-7F78-4680-84E3-32F9BE54A633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3724275" y="5778500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" name="Rectangle 140">
            <a:extLst>
              <a:ext uri="{FF2B5EF4-FFF2-40B4-BE49-F238E27FC236}">
                <a16:creationId xmlns:a16="http://schemas.microsoft.com/office/drawing/2014/main" id="{6E3AE893-C76D-5602-474A-D0CA12370345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124450" y="57785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1" name="Master text box">
            <a:extLst>
              <a:ext uri="{FF2B5EF4-FFF2-40B4-BE49-F238E27FC236}">
                <a16:creationId xmlns:a16="http://schemas.microsoft.com/office/drawing/2014/main" id="{3DA28E7A-1A88-71DE-ECC5-2F58FB9CFD9D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2622550" y="5773738"/>
            <a:ext cx="10001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202D4867-339C-4FE9-A099-BF3CD2041590}" type="datetime'''''''''''''C''''''''''''o''mp''''''''''''an''y'''''' A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Company A</a:t>
            </a:fld>
            <a:endParaRPr kumimoji="0" lang="en-US" sz="1400" b="0" i="0" u="none" strike="noStrike" kern="1200" cap="none" spc="0" normalizeH="0" baseline="3000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63" name="Master text box">
            <a:extLst>
              <a:ext uri="{FF2B5EF4-FFF2-40B4-BE49-F238E27FC236}">
                <a16:creationId xmlns:a16="http://schemas.microsoft.com/office/drawing/2014/main" id="{03FFB986-6883-4DB3-8F85-57226E85A358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025900" y="5773738"/>
            <a:ext cx="9969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CFC33B4A-62B0-4C91-BB97-81117DC45986}" type="datetime'C''''''''''''''''''o''mp''''''''''a''''ny'''''' ''''''''B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Company B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62" name="Master text box">
            <a:extLst>
              <a:ext uri="{FF2B5EF4-FFF2-40B4-BE49-F238E27FC236}">
                <a16:creationId xmlns:a16="http://schemas.microsoft.com/office/drawing/2014/main" id="{13744525-F978-C033-2305-1AFE4DAAE963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5426075" y="5773738"/>
            <a:ext cx="9588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9D1168CA-1112-405B-81B7-D029FE17F2E8}" type="datetime'''''Ye''arly'''''''''''' ''''s''''''''um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Yearly sum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14E163F6-D93F-E0F7-3B51-1D660EE8752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68424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columns, bar, bars, think-cell, chart, charts, graph, graphs, comment, percent, percentage</a:t>
            </a:r>
          </a:p>
        </p:txBody>
      </p:sp>
      <p:sp>
        <p:nvSpPr>
          <p:cNvPr id="4" name="Rechteck 137">
            <a:extLst>
              <a:ext uri="{FF2B5EF4-FFF2-40B4-BE49-F238E27FC236}">
                <a16:creationId xmlns:a16="http://schemas.microsoft.com/office/drawing/2014/main" id="{3DA06268-D8FF-6F67-ECEE-630B5ABDF6BD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8" name="tc_columnheader">
            <a:extLst>
              <a:ext uri="{FF2B5EF4-FFF2-40B4-BE49-F238E27FC236}">
                <a16:creationId xmlns:a16="http://schemas.microsoft.com/office/drawing/2014/main" id="{3FE658B1-3A5F-4478-FC27-5B6CF91A94B7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9" name="tc_columnhead">
              <a:extLst>
                <a:ext uri="{FF2B5EF4-FFF2-40B4-BE49-F238E27FC236}">
                  <a16:creationId xmlns:a16="http://schemas.microsoft.com/office/drawing/2014/main" id="{AAA96CBD-EE29-0E01-6152-C0C72226DDF3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 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11" name="tc_columnheadline">
              <a:extLst>
                <a:ext uri="{FF2B5EF4-FFF2-40B4-BE49-F238E27FC236}">
                  <a16:creationId xmlns:a16="http://schemas.microsoft.com/office/drawing/2014/main" id="{CBDA6133-BD8F-1926-A783-12159E70C3E1}"/>
                </a:ext>
              </a:extLst>
            </p:cNvPr>
            <p:cNvCxnSpPr>
              <a:cxnSpLocks/>
              <a:stCxn id="9" idx="4"/>
              <a:endCxn id="9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" name="tc_columnheadline">
            <a:extLst>
              <a:ext uri="{FF2B5EF4-FFF2-40B4-BE49-F238E27FC236}">
                <a16:creationId xmlns:a16="http://schemas.microsoft.com/office/drawing/2014/main" id="{5C557FCC-5859-DAD7-1094-D9227777D1FF}"/>
              </a:ext>
            </a:extLst>
          </p:cNvPr>
          <p:cNvCxnSpPr>
            <a:cxnSpLocks/>
          </p:cNvCxnSpPr>
          <p:nvPr/>
        </p:nvCxnSpPr>
        <p:spPr>
          <a:xfrm>
            <a:off x="8454707" y="1809133"/>
            <a:ext cx="336581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18">
            <a:extLst>
              <a:ext uri="{FF2B5EF4-FFF2-40B4-BE49-F238E27FC236}">
                <a16:creationId xmlns:a16="http://schemas.microsoft.com/office/drawing/2014/main" id="{54E6C9C4-7C88-D300-11C6-C9952C4F68A9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total labels)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33161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aFqideIVFSegw.y88f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cjAJ.3ZgZbzTq8Qlxh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AxLOBAV5jfsYyPrqz.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w57rblySm1nBWaWTqu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F7AQ9cbclq6JyYkHkP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lBASeMYsPBY5s13CEK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7BEGJpqxALf2MKWz5R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dLny0fzWP8nBHvwjel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k6KGMsVVuafuklIvn.m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qKPZ7Y7rbPZ5VxM7bP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cjLSR4X66pGpP_bEKT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m0GXFJiLh3dDjAk.3x6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zmVSEdXMMgy1mRyL12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KqbY5fTaDtMLZd3tKy7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8Ws6TAiDngOHPkC2UV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4a4M9GeL2Bwknl8_0Gc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uF0Kh0zHQVP5U78Bir3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YyAyxyuSTe66vgbunXs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82BAmWeFPi.wYOX3eJ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0h4WzZVY0TZ3ZZ46rs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QzeRT.fYgNM807thOLc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jzcvPl16a7d3TMxtiI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9xJzXprfR_.jMr6I4N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u3kKc9STKfxsBSyZow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etJujkR84KPx1T9x24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sZHQr.Y5toa9NJVuxra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XcSuS34s2nDgehBhVoN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237</Words>
  <Application>Microsoft Office PowerPoint</Application>
  <PresentationFormat>宽屏</PresentationFormat>
  <Paragraphs>45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7:39:37Z</dcterms:created>
  <dcterms:modified xsi:type="dcterms:W3CDTF">2025-09-09T07:41:57Z</dcterms:modified>
</cp:coreProperties>
</file>